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260" r:id="rId11"/>
    <p:sldId id="318" r:id="rId12"/>
    <p:sldId id="261" r:id="rId13"/>
    <p:sldId id="262" r:id="rId14"/>
    <p:sldId id="315" r:id="rId15"/>
    <p:sldId id="316" r:id="rId16"/>
    <p:sldId id="319" r:id="rId17"/>
    <p:sldId id="264" r:id="rId18"/>
    <p:sldId id="265" r:id="rId19"/>
    <p:sldId id="266" r:id="rId20"/>
    <p:sldId id="267" r:id="rId21"/>
    <p:sldId id="268" r:id="rId22"/>
    <p:sldId id="269" r:id="rId23"/>
    <p:sldId id="320" r:id="rId24"/>
    <p:sldId id="270" r:id="rId25"/>
    <p:sldId id="271" r:id="rId26"/>
    <p:sldId id="272" r:id="rId27"/>
    <p:sldId id="273" r:id="rId28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213" y="165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7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基本方法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将源码的函数进行拆分为各种简单的函数或方法，然后整合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改写原则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保留源码中的所有函数，函数的命名相应的改为符合</a:t>
            </a:r>
            <a:r>
              <a:rPr lang="en-US" sz="1600" dirty="0"/>
              <a:t>Rust</a:t>
            </a:r>
            <a:r>
              <a:rPr lang="zh-CN" sz="1600" dirty="0"/>
              <a:t>命名规范的版本，如“</a:t>
            </a:r>
            <a:r>
              <a:rPr lang="en-US" sz="1600" dirty="0" err="1"/>
              <a:t>vInitialiseList</a:t>
            </a:r>
            <a:r>
              <a:rPr lang="zh-CN" sz="1600" dirty="0"/>
              <a:t>”改为“</a:t>
            </a:r>
            <a:r>
              <a:rPr lang="en-US" sz="1600" dirty="0" err="1"/>
              <a:t>initialize_list</a:t>
            </a:r>
            <a:r>
              <a:rPr lang="zh-CN" sz="1600" dirty="0"/>
              <a:t>”</a:t>
            </a:r>
            <a:endParaRPr sz="16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475794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ReplacementStrategy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-1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wrapper.c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 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.rs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实现的功能</a:t>
            </a:r>
            <a:endParaRPr lang="zh-CN" sz="2400" b="1" dirty="0">
              <a:latin typeface="+mn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同类项目对比</a:t>
            </a:r>
            <a:endParaRPr lang="zh-CN" sz="2400" b="1" dirty="0">
              <a:latin typeface="+mn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</TotalTime>
  <Words>1313</Words>
  <Application>Microsoft Office PowerPoint</Application>
  <DocSecurity>0</DocSecurity>
  <PresentationFormat>宽屏</PresentationFormat>
  <Paragraphs>187</Paragraphs>
  <Slides>27</Slides>
  <Notes>2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7</vt:i4>
      </vt:variant>
    </vt:vector>
  </HeadingPairs>
  <TitlesOfParts>
    <vt:vector size="37" baseType="lpstr">
      <vt:lpstr>等线</vt:lpstr>
      <vt:lpstr>等线 Light</vt:lpstr>
      <vt:lpstr>微软雅黑</vt:lpstr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Rust改写——基本方法与原则</vt:lpstr>
      <vt:lpstr>PowerPoint 演示文稿</vt:lpstr>
      <vt:lpstr>Rust改写——困难与解决方案</vt:lpstr>
      <vt:lpstr>Rust改写——适配上板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8</cp:revision>
  <dcterms:created xsi:type="dcterms:W3CDTF">2019-08-16T12:08:31Z</dcterms:created>
  <dcterms:modified xsi:type="dcterms:W3CDTF">2024-07-05T11:53:20Z</dcterms:modified>
  <cp:category/>
  <dc:identifier/>
  <cp:contentStatus/>
  <dc:language/>
  <cp:version/>
</cp:coreProperties>
</file>